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834" r:id="rId2"/>
    <p:sldMasterId id="2147483842" r:id="rId3"/>
  </p:sldMasterIdLst>
  <p:notesMasterIdLst>
    <p:notesMasterId r:id="rId14"/>
  </p:notesMasterIdLst>
  <p:sldIdLst>
    <p:sldId id="2134805307" r:id="rId4"/>
    <p:sldId id="2134805353" r:id="rId5"/>
    <p:sldId id="2134805346" r:id="rId6"/>
    <p:sldId id="2134805347" r:id="rId7"/>
    <p:sldId id="2134805350" r:id="rId8"/>
    <p:sldId id="2134805320" r:id="rId9"/>
    <p:sldId id="2134805351" r:id="rId10"/>
    <p:sldId id="2134805317" r:id="rId11"/>
    <p:sldId id="2134805352" r:id="rId12"/>
    <p:sldId id="2134805316" r:id="rId1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135"/>
    <a:srgbClr val="001D47"/>
    <a:srgbClr val="0A0908"/>
    <a:srgbClr val="FF8B10"/>
    <a:srgbClr val="666666"/>
    <a:srgbClr val="333333"/>
    <a:srgbClr val="CCCCCC"/>
    <a:srgbClr val="FFFB00"/>
    <a:srgbClr val="FF315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85" autoAdjust="0"/>
  </p:normalViewPr>
  <p:slideViewPr>
    <p:cSldViewPr snapToGrid="0">
      <p:cViewPr varScale="1">
        <p:scale>
          <a:sx n="97" d="100"/>
          <a:sy n="97" d="100"/>
        </p:scale>
        <p:origin x="424" y="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24-Jul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C485-AAE3-8CE0-B84B-C83F4093C08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DEAEC4-E0F3-9FCE-BAAF-FDB63BC5E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842875-218D-9D8A-5783-0C33E936FF9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28130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6A0F1E-DA3A-FCE2-E1B4-0752E505346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0E94F46-3565-EF99-59CA-1C3FB0C493A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B38313-DE88-3A13-90EC-74A7E9958F9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054B755-DE16-CAB6-D625-5E607FB62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6983189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5D3A15-0FF3-A39B-9FE4-D700A76E306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00FE9F-6561-665F-A4F4-C9C4B4490CF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E7AC149-8642-9FB6-B94B-6AE9EBA68E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AAEAC5E7-CC2A-C92B-8A73-1CCA99C6D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5799034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4ADD582-662A-968D-5C24-5CA64213D2B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5F3FD1C-6350-9A05-9CDB-7BB8B8E7A0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2A125E-82E9-339B-8DD3-4F99BEB92E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7D3F80D-5C28-6DFD-0EBA-3C78C0C42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695205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713A89-53EE-064B-A22B-BEF22E8A423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E94F9F-2BD2-F9A5-9E54-07CF4258A96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CF6175-9699-E7CE-E715-F09EA01BC75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4D4D419-E0F3-2260-2C17-B30C90428F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953997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B02A8A8-2DC6-BFA7-0597-B3A0E2C7AC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D8CED17-0DB9-2715-7150-DBF236275C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158F57-86DC-B003-644B-93267585159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396E0D0B-5511-E73A-4166-3C440265E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54732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3866487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004581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843334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886346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30441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2 - Bullet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4747-CAC6-E3AB-43A2-737599B9350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08B049-B5A6-319C-6604-4CB974379CE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6BE57E5-418C-3CAD-E431-901873F59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046F9B-D4E9-66C2-A0FB-F251F890F0E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0158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6422843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708181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477909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00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dirty="0"/>
              <a:t>Public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B7C389-5A93-054C-1BDF-9FC91FFA20A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2F47C63-9D5B-42D3-BE44-70D25C464A2D}"/>
              </a:ext>
            </a:extLst>
          </p:cNvPr>
          <p:cNvSpPr txBox="1"/>
          <p:nvPr userDrawn="1"/>
        </p:nvSpPr>
        <p:spPr>
          <a:xfrm>
            <a:off x="1507199" y="4883282"/>
            <a:ext cx="1231380" cy="97673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IETF 117 – San Francisco</a:t>
            </a:r>
          </a:p>
        </p:txBody>
      </p:sp>
    </p:spTree>
    <p:extLst>
      <p:ext uri="{BB962C8B-B14F-4D97-AF65-F5344CB8AC3E}">
        <p14:creationId xmlns:p14="http://schemas.microsoft.com/office/powerpoint/2010/main" val="17775368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3 - Bullet 1/2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B2B362-2879-6819-D5A2-C7BE4DDA16A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08FED-F579-32FA-B396-B46F632C45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639B8D9-7FD8-8F41-6E5A-1F2F111B9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632CA16-E6FF-0535-892D-E7A6EA5DA9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53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4 - Bullet 2/3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932C8D-B957-1CF9-AF0A-C66A4B80B16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DFF5BE1-C27A-DAF6-539C-BE7CFB3D31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2198C15-49FA-5DCF-088F-089A36BBE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535E46A-E1CD-FBD0-4E50-E13A1941008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839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1 -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ADF482-1182-15C3-2090-EF4C2A8F787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5714932-B041-C268-D37A-89265A6401E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D6BE398-80E2-C124-8939-1FA1DF0C1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7A6C1B-66EA-1CDD-A7FD-918E8033052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1222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2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C39B26E-924A-E04C-205D-CC553972AE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D6E92B-62A5-89F1-C025-9AFA6FCB33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A0AE1-3EC1-6929-E965-9C60516B99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CFFAAD9-97A5-7898-E5FF-36F481EB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09CB677-B3D7-E9DA-E119-15BB41993FA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646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3 - Tex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C50F010-1A3E-13CC-A34C-23E50F7D9E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224637-55EA-0423-7FB7-9D4C22E954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086BFC4-A13A-A77F-C95D-F0B63E9FC79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8436AE6-E5BF-2964-DF91-273801509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5AB8AB4-23B8-7C73-D92C-B7E5B59F98F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889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4 - 1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4C436A-97D3-3C1B-0C95-441F1DF2F9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2203B3C-B7BE-B5F0-A84C-BF4A2D307F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D0C98DE-3A96-2DE1-E80F-30D10A98054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9872479-176B-250D-7009-2FACC846C8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639FAC-9B20-0C41-1170-9E53E197BE9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889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5 - 2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7E9F8B-5B93-F909-6599-53CAB222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BB2193-E2EE-013C-3734-26FE2B6F28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4D6E453-33BB-3D1A-87F2-BF23E7DB06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25631BE9-7C06-22AD-145E-78B1BD5F7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C81FBE-7963-2BF2-3D08-EB37DCED6F2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6002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6 - 3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635BF5-054A-3811-41D1-1B20FDF97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09C184-344B-3A37-4BC9-5F46DC81EA5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23E53E-BC8E-B2D9-8857-89A24EB07F9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E99784FE-D6A8-9580-1007-194EF43C8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819FF9-0C48-6A68-6BD1-54B1244D68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172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AA98FC-E577-274F-771E-82560F85DC9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20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7 - 4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49FC51-3DDE-4079-644A-F3FAEB0DC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F8C1C72-A585-7ED5-651B-B528B397081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3FAF429-6C3E-019C-0537-840220A5BF9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4C8B806-8FC3-E969-CBCA-FAFFE8971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E60DC6-6861-4B10-B2CD-E60D97CFE28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3127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8 - Numbered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7ADEE1-F63C-492E-6243-826D5239E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8DC97F-4D64-0DED-88CD-EE02622DD1A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AADFB0-EF58-B66F-9E2F-35B8CE845DF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B5E01CE8-3A1A-97F6-CB42-2A7B7096C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3CB7487-BD83-B400-F941-3715EED3ECC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5639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9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751E31D-7B4F-D8BB-1E48-D88EA581D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FD536D-56F0-6B89-4E85-90A6E969D32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2A18FDE-17E4-A96B-C3EE-A77EEBA83E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39C322E-4A8A-CA2E-DBCD-97DA4FDE1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21" name="Text Placeholder 42">
            <a:extLst>
              <a:ext uri="{FF2B5EF4-FFF2-40B4-BE49-F238E27FC236}">
                <a16:creationId xmlns:a16="http://schemas.microsoft.com/office/drawing/2014/main" id="{B3D3C671-29A5-6951-28E5-A58089FE5D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062FB6E-4504-FEA1-6B62-6D6CDB0C297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9201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1 - Cover N Blue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B30CB-3B0D-6B0D-CAD2-F3DB42C0D06B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963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2 - Cover N Purple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7E65701-8704-DC44-7F06-7957F6D50DDE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0CCF65E-F2C0-F179-6CEF-6926AE13A1AD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4148E0E7-D605-6CB3-E2A2-9F865D08B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2FEEE1-227F-5289-5CC7-714EBE3E19C9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973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3 - Cover N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B531529-C0C1-501F-B90B-E578B26E0D98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0C94059-F7F6-293D-88B1-A0CCDDB75575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98343E1B-0BDB-6D7F-D5F6-35E72B8B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75370D-AE3E-4E75-6FD5-2EE085BAD5A6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81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4 - Cover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E447E57-9E3B-2030-9902-A8BA6E7583E4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B61C7B4D-5A69-FF1F-0F31-D16D75C7921B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AD544843-BF44-8F0F-4D23-F80C60F60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050AC5B-86A1-B82E-33A3-29360CC407B2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320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1 - Cover O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8B88A2-C8A9-A342-E8B5-C91DF5E71F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C2290D-5934-145E-499C-1CB0349E5F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D471F30-B344-A63E-287D-45299C347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099940-048D-39BD-037F-46E30610F72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997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2 - Cover O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132D8A-9E85-B335-C2FD-9D2508FEAF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D1F556C-703D-0EB9-35BD-0A7DE6122BF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F61D5928-67F7-A4E5-2767-E072B8F67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1D95AEB-E4CB-54E5-47AE-1837A3D69E9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33113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916A922-B54C-8517-DD07-9374D7BDEB1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034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147FFC8-BCFC-9C91-34CB-FA2757B9FCD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089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4 - Cover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94EDB0-D38F-0FE8-27C1-80BAE2455A1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AF1A61-3518-0ABC-1BC0-5990D5EF88D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6FB4B1-7F2F-CF04-74B8-D3A7467B0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9A58DAC-3B40-1B09-B235-713F491BEE3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1600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1 -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1FC38E-29E5-B44A-FE96-F713B08050E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AAAD9DC-C952-84F6-32BA-CE8084E916D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603A7C0-7450-F57A-CF86-135B131E6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F01BA8E-8CEA-9FFE-48EB-DEA5A89BB56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81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2 - Cover K BlueGree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9CCAE72-315B-6DC4-6ED3-6C32104BB03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6B1C01-19BD-7D67-4E40-88818E2139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7C973916-701B-92E4-FA4C-28A5746F5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23F4759-EB92-F4D5-2BB3-75D64C3DFED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4542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3 - Cover K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AE80B1C-FD35-F288-8BFD-2F827D4C51A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7E72F-0CE2-D4D0-F696-BEA9F83EF5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B4C8BF7-D6EA-CCEB-F116-FF8F674A1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F2EFAA-1CC4-492E-B8D1-6EF49CE7A8F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573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4 - Cover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85118FE-3A69-7878-D9BB-1A3313720C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F609D8D-5CB0-9FB7-12C3-CB2F81E54A6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A6A581A3-9568-ADAA-C577-D08AD5F138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E08E003-2B92-ADF0-377B-757258E2C6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929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1 - Divider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AA9E6A-3B54-EBA8-25AB-52211D52F5E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FC82D3C-5CAB-DDEA-5BAD-0CE49311B44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F275CFF-10A6-01B8-606D-73D7A5642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6D07526-2E9D-2AAD-EE94-167EEE1536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2048B-6D7A-8D73-C1C4-5B16111F0B3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10216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8D7E07-AE29-ED03-CA17-E767D394E16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15759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200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GB" dirty="0"/>
              <a:t>Public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B7C389-5A93-054C-1BDF-9FC91FFA20A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C7B409E-1BEF-4766-98A3-73098702148B}"/>
              </a:ext>
            </a:extLst>
          </p:cNvPr>
          <p:cNvSpPr txBox="1"/>
          <p:nvPr userDrawn="1"/>
        </p:nvSpPr>
        <p:spPr>
          <a:xfrm>
            <a:off x="1507199" y="4883282"/>
            <a:ext cx="1231380" cy="97673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Arial" panose="020B0604020202020204" pitchFamily="34" charset="0"/>
                <a:ea typeface="Nokia Pure Text Light" panose="020B0304040602060303" pitchFamily="34" charset="0"/>
                <a:cs typeface="Arial" panose="020B0604020202020204" pitchFamily="34" charset="0"/>
              </a:rPr>
              <a:t>IETF 117 – San Francisco</a:t>
            </a:r>
          </a:p>
        </p:txBody>
      </p:sp>
    </p:spTree>
    <p:extLst>
      <p:ext uri="{BB962C8B-B14F-4D97-AF65-F5344CB8AC3E}">
        <p14:creationId xmlns:p14="http://schemas.microsoft.com/office/powerpoint/2010/main" val="3413868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4 - Divider PurpleBlu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758511-3EE8-4852-763C-F4F1187FA97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486F512-1927-A0E0-A1C2-79941992D99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8DEF3F3-5CAD-FC0C-F7DD-4A913E71B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E790325F-8E1D-1D8F-9BC9-63324BDA4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A58081-F274-C081-E890-EFC2A41D5FC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5608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5 - Divider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665458-1735-3CFE-DB60-E654932058A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EAC92C-19BC-5473-42AE-69A4371F286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E2C85D8-A3A9-A261-1BCF-7010668564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1CF4E5-14D0-7A0E-3B20-BC1F539D9B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D97333-EA43-6640-585E-B0F0830740B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572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4 - 1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C5286A-148E-6CAC-4953-28CEC8A7AC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09A251-3EA9-3813-C32A-42674B11B3B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DDBC5E9-DF95-1530-C94F-AC94C8FDD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9E8CF51-8E48-6828-423E-617B4E1565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0542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6 - Divider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C0B05D-F0F7-15F3-4C17-EED0899C7AF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57B24-CF63-C1F9-6FBA-114618B4AAB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9CB5136-AC36-0B5E-A3A9-2D5B7B13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45165F11-ACDF-2F83-0960-B38B3A16DA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D18778-E790-9812-B1F5-0E0F7858DCA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979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7 - Divider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4D71-50D7-0502-EF7E-5AAF38E865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256B84B-A641-FF3B-04A5-7875DE216F3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B5AF0F0-B002-CB3B-6A1E-945904E80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FB53FB7-1753-80D0-CDCE-10664D914F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29192D-9BFF-547E-D7E1-AE02B2E78B0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9169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1 - End BlueGreen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8977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2 - End BlueGreen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3 - End BlueGreen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0662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4 - End PurpleBlu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527178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5 - End Blue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6942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6 - End 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2669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7 - Divider Orang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15654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8 -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5 - 2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D7398D-CEE7-3079-FB86-A89C992F31A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654D0DC-83E2-3257-B441-08F7D9D944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FC902BB-0C0A-0354-8619-93CF785E9CB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6354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9A4E175-66C0-4DDD-AA07-5D4B03CEA1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40861434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00794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1"/>
            <a:ext cx="8308800" cy="2154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  <a:cs typeface="Arial" panose="020B0604020202020204" pitchFamily="34" charset="0"/>
              </a:rPr>
              <a:t>Environmental Sustainability Research Agenda</a:t>
            </a:r>
            <a:endParaRPr lang="en-US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777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9658073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4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2">
            <a:extLst>
              <a:ext uri="{FF2B5EF4-FFF2-40B4-BE49-F238E27FC236}">
                <a16:creationId xmlns:a16="http://schemas.microsoft.com/office/drawing/2014/main" id="{4F384717-39C3-4AC7-9EA1-C3EA1A638B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D6C4B20-F952-4A3C-AB73-2A06B8C3F6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076400"/>
            <a:ext cx="8308800" cy="356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Environmental Sustainability Research 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3619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_Blue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A4F04206-BA94-4881-BA5F-F4855044D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Main headline in sentence cas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395FE5-ACED-4CF9-93C7-742199141A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B64E67-6955-4928-A243-5A54F09D3B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88" y="34045"/>
            <a:ext cx="1589956" cy="66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848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3_Single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5DDEE8-FF3C-4742-BB8C-B09BB2526A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Environmental Sustainability Research Agenda</a:t>
            </a:r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B4B383DF-E841-4958-AC70-1FE077578D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6D425CB6-0BAB-4AB6-ADCE-D68F0C1DF8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87D8427-6029-4956-BF93-C47F0DB879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30400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462600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693000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92340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19733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headline</a:t>
            </a:r>
            <a:endParaRPr lang="en-US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>
                <a:solidFill>
                  <a:srgbClr val="001135"/>
                </a:solidFill>
              </a:rPr>
              <a:t>Environmental Sustainability Research Agenda</a:t>
            </a:r>
            <a:endParaRPr lang="en-US">
              <a:solidFill>
                <a:srgbClr val="001135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0741277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F67EED-9146-FEFB-B660-62A252EB5D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786487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C1BFCD-6D0E-9392-8AF1-AA5AC554C5C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60ADFB8-3432-B307-E345-E3F3BD40FB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8B6B60-CBCC-891E-2583-9E8CD3C995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BFB85A3-5CE3-2927-6461-99DEDFB9D5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5494468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FD5FAA-4E42-2A01-7A0D-9D47214A39C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43C41B3-444A-B935-7F1C-44CC756EF99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FE4EE1-1B23-D0EA-39ED-CDDC6ECFE4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726386B-D9AC-0FCA-9F12-0FA32276F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56388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6 - 3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89AA2-17C4-2311-08AF-1321E11749F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13EB45-843B-9A1C-345B-468536A7E0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C77A4B8F-49F4-2929-427A-DF7B92A56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04B3FDD-9CA0-11D4-0851-6220AEF7224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6995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6B13C58-337C-7F31-E842-1040B36F0D2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0257226-AE3E-3B65-71BB-8A6565585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C74384-DD2A-533D-796C-EFFF39625FF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ACB227E-CF72-2719-133F-6CBEB35348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17269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A37820-182D-1EB7-AF8B-A6B34F63F68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E2E5BE2-B331-A0C0-8C3D-3B644FF16C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471E01-4B5D-597C-1AAD-279941B82E1C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177C34D5-50E3-692A-4113-A20C29530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9203835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95FB67-347C-9744-DDEC-EB9F26AE1E3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8A08A66-7F86-F362-AA5F-FEC2F95CF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E32FE7-F16C-F5A2-7976-C8AE67A2B607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1B4CAA9-38F1-6F57-641C-B296225D4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756389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39245-EC69-0915-96DF-689D05839B6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1E7D37B-C01D-8FDC-39D7-B6613DBAB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D8ACCE-D657-1865-39B4-712A9F5DDA4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D2F1279-1655-0D51-01CE-FA8A83421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512905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6B4C56-703F-C230-A142-8BA0A116DED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F6435CA-6601-0B80-DBC4-827F05548E9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DD1AEB7-7A91-F37A-8098-1A01C413E0C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1F0A7CA-1E30-E2BF-7969-46EE62F47B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0697506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9945430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976285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853DDBC-443E-D2EE-AA09-F815D5BE49A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828423F-10A4-D452-0424-8A3CAC2408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D91186-F39A-461C-3CC9-A6507EE46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B5F4FFD2-D5D2-2F5A-BE1E-C1FC65192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935280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1C177B-3FC8-584E-049C-6A9FE0A186D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C285EB0-637E-9CAE-CF2D-FD5A572F55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9C3BFD-65A3-382D-EA4E-2A6602A965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ADBADA14-4C6E-3591-235D-3AE342279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0372586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29DB26-11E5-ACF0-2010-650C540428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8CDC4FF-5FCD-6139-0116-3D836D1460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0338BE9-E41F-8369-F9D3-6CF49563032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20839AE3-23F8-8E55-3FA3-1B4150432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62994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7 - 4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23A0E-155F-824D-4618-C556416C4B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DCBE36C-4C66-1188-03D3-624F2E47A38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644240-BAFF-42B5-1A7E-4A3EC1F8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6F73B2-E419-4B3A-6889-6AD4A8D02A4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7851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7DAC68-7FA5-283E-0003-FC78D893CBC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A5133E-5A19-2135-6AC8-95A70D3E458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0067-8CB1-581C-E8B3-761B8AA8571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39B62371-B8A4-2689-1BCB-5F7AC2C2F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329268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 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9A41EB-58FB-922A-AD7C-3AE3F195AE9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76F728-DC69-4AD8-9AEF-5B486F40096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B1CC16-8142-C9B4-AA53-7C6F5EB6495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2520D9A-9611-C82A-E40B-BC50B9BE6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7629170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26DEAE-F305-C645-6B32-DF908A237F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1FD5D9-C8CE-C240-0A2D-0C20751056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1AC439E-0DDA-84C5-68C7-53D323ED0EC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09A6CDBE-EDE4-1381-C4AF-F7D0ED869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628746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3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7B7B596-4152-517C-5C30-64F14F1B9A2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C58317-1366-95A8-E74C-B47D5FE79D6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F4086A-EEE4-7238-CF78-1C3E853BE87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0D26E4F-5A2F-75BE-4956-4C895F30A9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3554147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EED543-A0D2-4B1E-84AB-35BA8760AB4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1B1C6CE-73A8-5D3B-7402-E61E80018D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F05F9E-C966-5628-2820-8F1395BF81E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B9B0982-1098-65B6-0BE1-70000891D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78288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C7DDDB1-93FF-2E9E-1523-25C0AAD59D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8F1AEE4-E0F5-CB51-2839-A6829D6302C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2EAA2F-400B-986E-5A5D-4153560C0C7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D1B7E901-0A28-DA54-D8A7-5F7C60E94E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279888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385816-6569-35D3-5A7C-C29AD01DAA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C37985A-D671-5872-8D8B-469FEF28399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90B45F8-CBC4-7A3B-7C6A-F7367BB2479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FF8E67C-8567-FFCB-4C89-6BEA15B27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812150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0ADB73-9C9A-832B-D8BF-9AF20DAA106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BF0B68-A9EA-223F-2B7F-9D6F0EEB64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4673BBF-80EC-695B-A9CC-59A70D3443DD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CAC8A9F-15DB-739A-7B06-E32518431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570180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5 Number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8516E12-24DD-827E-B42A-FEADBBD6DA7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713F659-CB75-ECA4-9103-AA521D00BDB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0A1277-1BCA-C1CE-6430-E1E6743CC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0B17C7F-E98A-8FDB-6CD3-CC1B3B501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5390921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7304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8 -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138E23A-1A2B-4FC2-057E-864010EF96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17762A-54B1-36A8-F29E-69737B3F61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395D9105-CDC3-7AF1-1035-8F0BB27B9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53F7E12-5AAE-379F-13F1-075F4E93E97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1468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BA013C72-05A6-BC67-924F-AD55DE815D0C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7585773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C98A014-7BCB-58F3-B1D1-D4FD8EC7EB8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00F343F-6D93-CB75-9580-B22F74F2267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790EE6-1AD1-02A2-97B8-A6005C99629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7AA931E6-4B7F-669F-C445-1B4D50411B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722382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1E6C875-6A56-ECD4-AA48-0284B4A653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288000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58EB71-1D91-BEB8-274C-75E76F9ED6F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7C636AD-ADD5-F240-117B-08D310FF569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FC8707-B3DD-AA96-72B6-571C83A1828E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7704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B8F5FD-3C1E-ED2B-FEED-204E697F92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E05CD-640E-D8C4-CB9E-EDE52D29E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759BC8-C107-9B15-676E-AEADF18E71A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53CB0FD-5D02-760B-C180-7C3CC3C5D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1637018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84C8A4-6AD2-B11C-DB11-02D4D662D7E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487328-2697-279F-E20D-91C4C573F75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C15A2F-1CD7-4840-2A5F-B6E52DFFB1A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4B3AB92F-F3C9-83A8-7063-25752C64EE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711006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C003D-0EF9-EF09-FA3B-B06705810FC8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485869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53E137B-4AA1-0543-1336-DFC6E4FFB011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4A66DCC-053F-B59E-D123-FE02866DE14E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444D486-4F66-A858-1E27-52EA0097BAEE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D4ACE8F-B23A-798D-9D92-BC5D1372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410578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9522004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2217744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C7B85A-D75A-1A9C-EB9E-1F10BCD7B1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4452E9D-9590-537A-1306-6AC3186A676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933135B-E6E0-A180-C59B-EA4745CE657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E1E5813-C891-EC55-3C61-8BA65C529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50793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9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AB3D1D-D95D-CC81-FF15-1A1F6BE049F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043C3F-DBA3-47D4-A317-9E02DADB3E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7253B20-AD10-1261-4A70-76072ED40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386DAF-78F1-64A8-A51B-3B6BA0A20C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124B01-6D4E-ECB8-589F-7F656C99B60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0224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C94188-095E-2B15-B1C9-BFEA9CD8AD5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0B3BB8B-340F-1B2C-CFDB-82FD55A3DE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3C0A07D-57CA-BFF4-F4D9-3C2FC68A391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C2925E9-CEC5-C2C9-18E8-E9BC48F8A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6349037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92705-E3A1-420B-69C5-44919D45057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489F46-0E66-3662-9807-C4103C37498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4CC0F3-7292-1366-D942-BE5A3E145A4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B3465A8-86A3-4978-6D3F-E97750AC1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63549175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92705-E3A1-420B-69C5-44919D45057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489F46-0E66-3662-9807-C4103C37498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4CC0F3-7292-1366-D942-BE5A3E145A4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B3465A8-86A3-4978-6D3F-E97750AC1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120879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7747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04E2F18-4E2A-EDFF-55AE-85920A343F2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7433D11-0578-F766-1515-93267A249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9795479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D6C7722-3695-701D-3996-534F9F47B22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0DB2ED8-2C9E-748A-A0E7-A8309F6712B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0495AE-317E-AAA2-14BB-57D5B40C068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484948EE-688C-80CC-A7ED-A56091E7B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6990572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96CCAF-CFD0-78BA-B2DE-D4AAECC80E0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83A073E-6395-AB52-363B-C387025E75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EA63C6-5343-F79F-D184-6FE2E97A361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B14FF50-A296-F5AE-C68C-5D0294FDC1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7969727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6735192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33991A-B775-F150-1F53-A41B2C8F75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2865E3E-F273-E118-A756-E7553EE37B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6CB285-4CBA-9E7E-51AA-4D36FE48627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4E65701-AF49-27F6-59BC-27ED19ECE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811398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EAF690-F016-5F35-1D32-4ED93EF516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BB7509F-4A74-90C7-0E0E-F5393EA5197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BDDC262-79BB-0F23-042E-B5CBA305611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4CDDDE1-60B8-DFD9-1AEF-39E3A6012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Apply appropriate data classification. Apply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45435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image" Target="../media/image2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53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06.xml"/><Relationship Id="rId55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3" Type="http://schemas.openxmlformats.org/officeDocument/2006/relationships/slideLayout" Target="../slideLayouts/slideLayout109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slideLayout" Target="../slideLayouts/slideLayout104.xml"/><Relationship Id="rId56" Type="http://schemas.openxmlformats.org/officeDocument/2006/relationships/slideLayout" Target="../slideLayouts/slideLayout112.xml"/><Relationship Id="rId8" Type="http://schemas.openxmlformats.org/officeDocument/2006/relationships/slideLayout" Target="../slideLayouts/slideLayout64.xml"/><Relationship Id="rId51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97.xml"/><Relationship Id="rId54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slideLayout" Target="../slideLayouts/slideLayout105.xml"/><Relationship Id="rId57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874875591,&quot;Placement&quot;:&quot;Footer&quot;,&quot;Top&quot;:387.034332,&quot;Left&quot;:320.6956,&quot;SlideWidth&quot;:720,&quot;SlideHeight&quot;:405}">
            <a:extLst>
              <a:ext uri="{FF2B5EF4-FFF2-40B4-BE49-F238E27FC236}">
                <a16:creationId xmlns:a16="http://schemas.microsoft.com/office/drawing/2014/main" id="{4D91DAB0-4BF9-600C-9A7C-167BC6F695A5}"/>
              </a:ext>
            </a:extLst>
          </p:cNvPr>
          <p:cNvSpPr txBox="1"/>
          <p:nvPr userDrawn="1"/>
        </p:nvSpPr>
        <p:spPr>
          <a:xfrm>
            <a:off x="4072834" y="4915336"/>
            <a:ext cx="998332" cy="2281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kia internal us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26" r:id="rId2"/>
    <p:sldLayoutId id="2147483776" r:id="rId3"/>
    <p:sldLayoutId id="2147483778" r:id="rId4"/>
    <p:sldLayoutId id="2147483779" r:id="rId5"/>
    <p:sldLayoutId id="2147483780" r:id="rId6"/>
    <p:sldLayoutId id="2147483781" r:id="rId7"/>
    <p:sldLayoutId id="2147483777" r:id="rId8"/>
    <p:sldLayoutId id="2147483796" r:id="rId9"/>
    <p:sldLayoutId id="2147483763" r:id="rId10"/>
    <p:sldLayoutId id="2147483794" r:id="rId11"/>
    <p:sldLayoutId id="2147483775" r:id="rId12"/>
    <p:sldLayoutId id="214748379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753" r:id="rId23"/>
    <p:sldLayoutId id="2147483757" r:id="rId24"/>
    <p:sldLayoutId id="2147483758" r:id="rId25"/>
    <p:sldLayoutId id="2147483815" r:id="rId26"/>
    <p:sldLayoutId id="2147483760" r:id="rId27"/>
    <p:sldLayoutId id="2147483761" r:id="rId28"/>
    <p:sldLayoutId id="2147483762" r:id="rId29"/>
    <p:sldLayoutId id="2147483774" r:id="rId30"/>
    <p:sldLayoutId id="2147483755" r:id="rId31"/>
    <p:sldLayoutId id="2147483756" r:id="rId32"/>
    <p:sldLayoutId id="2147483793" r:id="rId33"/>
    <p:sldLayoutId id="2147483814" r:id="rId34"/>
    <p:sldLayoutId id="2147483751" r:id="rId35"/>
    <p:sldLayoutId id="2147483746" r:id="rId36"/>
    <p:sldLayoutId id="2147483791" r:id="rId37"/>
    <p:sldLayoutId id="2147483749" r:id="rId38"/>
    <p:sldLayoutId id="2147483747" r:id="rId39"/>
    <p:sldLayoutId id="2147483748" r:id="rId40"/>
    <p:sldLayoutId id="2147483750" r:id="rId41"/>
    <p:sldLayoutId id="2147483772" r:id="rId42"/>
    <p:sldLayoutId id="2147483677" r:id="rId43"/>
    <p:sldLayoutId id="2147483792" r:id="rId44"/>
    <p:sldLayoutId id="2147483833" r:id="rId45"/>
    <p:sldLayoutId id="2147483769" r:id="rId46"/>
    <p:sldLayoutId id="2147483773" r:id="rId47"/>
    <p:sldLayoutId id="2147483771" r:id="rId48"/>
    <p:sldLayoutId id="2147483679" r:id="rId4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4DA2D9-3351-40A0-93E3-CF16424247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4DA2D9-3351-40A0-93E3-CF16424247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1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Environmental Sustainability Research Agenda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  <p:sp>
        <p:nvSpPr>
          <p:cNvPr id="3" name="MSIPCMContentMarking" descr="{&quot;HashCode&quot;:874875591,&quot;Placement&quot;:&quot;Footer&quot;,&quot;Top&quot;:387.034332,&quot;Left&quot;:320.6956,&quot;SlideWidth&quot;:720,&quot;SlideHeight&quot;:405}">
            <a:extLst>
              <a:ext uri="{FF2B5EF4-FFF2-40B4-BE49-F238E27FC236}">
                <a16:creationId xmlns:a16="http://schemas.microsoft.com/office/drawing/2014/main" id="{25A1876B-77FB-4DDD-B982-69AD65148C18}"/>
              </a:ext>
            </a:extLst>
          </p:cNvPr>
          <p:cNvSpPr txBox="1"/>
          <p:nvPr userDrawn="1"/>
        </p:nvSpPr>
        <p:spPr>
          <a:xfrm>
            <a:off x="4072834" y="4915336"/>
            <a:ext cx="998332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</a:rPr>
              <a:t>Nokia internal use</a:t>
            </a:r>
            <a:endParaRPr lang="en-GB" sz="8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41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6493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  <p:sldLayoutId id="2147483870" r:id="rId28"/>
    <p:sldLayoutId id="2147483871" r:id="rId29"/>
    <p:sldLayoutId id="2147483872" r:id="rId30"/>
    <p:sldLayoutId id="2147483873" r:id="rId31"/>
    <p:sldLayoutId id="2147483874" r:id="rId32"/>
    <p:sldLayoutId id="2147483875" r:id="rId33"/>
    <p:sldLayoutId id="2147483876" r:id="rId34"/>
    <p:sldLayoutId id="2147483877" r:id="rId35"/>
    <p:sldLayoutId id="2147483878" r:id="rId36"/>
    <p:sldLayoutId id="2147483879" r:id="rId37"/>
    <p:sldLayoutId id="2147483880" r:id="rId38"/>
    <p:sldLayoutId id="2147483881" r:id="rId39"/>
    <p:sldLayoutId id="2147483882" r:id="rId40"/>
    <p:sldLayoutId id="2147483883" r:id="rId41"/>
    <p:sldLayoutId id="2147483884" r:id="rId42"/>
    <p:sldLayoutId id="2147483885" r:id="rId43"/>
    <p:sldLayoutId id="2147483886" r:id="rId44"/>
    <p:sldLayoutId id="2147483887" r:id="rId45"/>
    <p:sldLayoutId id="2147483888" r:id="rId46"/>
    <p:sldLayoutId id="2147483889" r:id="rId47"/>
    <p:sldLayoutId id="2147483890" r:id="rId48"/>
    <p:sldLayoutId id="2147483891" r:id="rId49"/>
    <p:sldLayoutId id="2147483892" r:id="rId50"/>
    <p:sldLayoutId id="2147483893" r:id="rId51"/>
    <p:sldLayoutId id="2147483894" r:id="rId52"/>
    <p:sldLayoutId id="2147483895" r:id="rId53"/>
    <p:sldLayoutId id="2147483896" r:id="rId54"/>
    <p:sldLayoutId id="2147483897" r:id="rId55"/>
    <p:sldLayoutId id="2147483898" r:id="rId56"/>
    <p:sldLayoutId id="2147483899" r:id="rId57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5D0F7F-B888-43F7-B1A2-65EC0D9BA9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816868"/>
            <a:ext cx="8308800" cy="1932914"/>
          </a:xfrm>
        </p:spPr>
        <p:txBody>
          <a:bodyPr/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ternet Handprint &amp;</a:t>
            </a:r>
          </a:p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arth Systems Science</a:t>
            </a:r>
          </a:p>
          <a:p>
            <a:pPr algn="ctr"/>
            <a:r>
              <a:rPr lang="en-US" sz="3600" i="1" dirty="0">
                <a:latin typeface="Arial" panose="020B0604020202020204" pitchFamily="34" charset="0"/>
                <a:cs typeface="Arial" panose="020B0604020202020204" pitchFamily="34" charset="0"/>
              </a:rPr>
              <a:t>- a research outlook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DB97879-6813-4366-814D-228F1437D353}"/>
              </a:ext>
            </a:extLst>
          </p:cNvPr>
          <p:cNvSpPr txBox="1">
            <a:spLocks/>
          </p:cNvSpPr>
          <p:nvPr/>
        </p:nvSpPr>
        <p:spPr>
          <a:xfrm>
            <a:off x="1069958" y="3344061"/>
            <a:ext cx="6995183" cy="12739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IETF 117 – “Sustainable Networking” Side Meeting</a:t>
            </a:r>
          </a:p>
          <a:p>
            <a:pPr algn="ctr"/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24 July 2023 – San Francisco</a:t>
            </a:r>
          </a:p>
          <a:p>
            <a:pPr algn="ctr"/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Ali Rezaki, Nokia</a:t>
            </a:r>
          </a:p>
        </p:txBody>
      </p:sp>
    </p:spTree>
    <p:extLst>
      <p:ext uri="{BB962C8B-B14F-4D97-AF65-F5344CB8AC3E}">
        <p14:creationId xmlns:p14="http://schemas.microsoft.com/office/powerpoint/2010/main" val="258783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116599-050C-A1A7-463F-D51039F09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55716" y="4889292"/>
            <a:ext cx="2880000" cy="122400"/>
          </a:xfrm>
        </p:spPr>
        <p:txBody>
          <a:bodyPr/>
          <a:lstStyle/>
          <a:p>
            <a:pPr algn="ctr"/>
            <a:r>
              <a:rPr lang="en-GB" dirty="0"/>
              <a:t>Public</a:t>
            </a:r>
            <a:endParaRPr lang="en-US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B002E1B-EED8-F579-A54A-CC1D0B2A2E89}"/>
              </a:ext>
            </a:extLst>
          </p:cNvPr>
          <p:cNvGrpSpPr/>
          <p:nvPr/>
        </p:nvGrpSpPr>
        <p:grpSpPr>
          <a:xfrm>
            <a:off x="73893" y="1385674"/>
            <a:ext cx="1976888" cy="1995932"/>
            <a:chOff x="433712" y="1407349"/>
            <a:chExt cx="1976888" cy="1995932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97CEDC6-63DA-7EB0-CAD6-541F981987C1}"/>
                </a:ext>
              </a:extLst>
            </p:cNvPr>
            <p:cNvSpPr/>
            <p:nvPr/>
          </p:nvSpPr>
          <p:spPr>
            <a:xfrm>
              <a:off x="433712" y="1407349"/>
              <a:ext cx="1976888" cy="199593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315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5F5CA327-5ECC-9B05-EFF0-7953488DBCF7}"/>
                </a:ext>
              </a:extLst>
            </p:cNvPr>
            <p:cNvSpPr/>
            <p:nvPr/>
          </p:nvSpPr>
          <p:spPr>
            <a:xfrm>
              <a:off x="495113" y="1609949"/>
              <a:ext cx="1897086" cy="95410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algn="ctr" defTabSz="685800">
                <a:defRPr/>
              </a:pPr>
              <a:r>
                <a:rPr lang="en-US" sz="2000" dirty="0">
                  <a:solidFill>
                    <a:srgbClr val="FFFFFF"/>
                  </a:solidFill>
                  <a:latin typeface="Nokia Pure Headline Ultra Light" panose="020B0204020202020204" pitchFamily="34" charset="0"/>
                </a:rPr>
                <a:t>Holistic environmental impact research</a:t>
              </a:r>
              <a:endParaRPr lang="en-GB" sz="2000" dirty="0">
                <a:solidFill>
                  <a:srgbClr val="FFFFFF"/>
                </a:solidFill>
                <a:latin typeface="Nokia Pure Headline Ultra Light" panose="020B02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F5DD6923-FC30-F31F-5964-616199E6BB77}"/>
                </a:ext>
              </a:extLst>
            </p:cNvPr>
            <p:cNvGrpSpPr/>
            <p:nvPr/>
          </p:nvGrpSpPr>
          <p:grpSpPr>
            <a:xfrm>
              <a:off x="1010051" y="2550128"/>
              <a:ext cx="824210" cy="698580"/>
              <a:chOff x="2606196" y="1232164"/>
              <a:chExt cx="3650305" cy="3355232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C5200C3E-2D6E-2597-851C-6515F57CCF06}"/>
                  </a:ext>
                </a:extLst>
              </p:cNvPr>
              <p:cNvGrpSpPr/>
              <p:nvPr/>
            </p:nvGrpSpPr>
            <p:grpSpPr>
              <a:xfrm>
                <a:off x="2606196" y="1232164"/>
                <a:ext cx="3650305" cy="3355232"/>
                <a:chOff x="2424616" y="1232164"/>
                <a:chExt cx="3650305" cy="3355232"/>
              </a:xfrm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3109B6A3-1ABB-B0E0-2DC3-D2316D56376D}"/>
                    </a:ext>
                  </a:extLst>
                </p:cNvPr>
                <p:cNvSpPr/>
                <p:nvPr/>
              </p:nvSpPr>
              <p:spPr>
                <a:xfrm>
                  <a:off x="3262006" y="1232164"/>
                  <a:ext cx="2010383" cy="2010383"/>
                </a:xfrm>
                <a:prstGeom prst="ellipse">
                  <a:avLst/>
                </a:prstGeom>
                <a:solidFill>
                  <a:schemeClr val="accent1">
                    <a:alpha val="50000"/>
                  </a:schemeClr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spcAft>
                      <a:spcPts val="300"/>
                    </a:spcAft>
                    <a:buSzPct val="100000"/>
                  </a:pPr>
                  <a:endParaRPr lang="en-FI" sz="1200">
                    <a:ln>
                      <a:solidFill>
                        <a:schemeClr val="accent3"/>
                      </a:solidFill>
                    </a:ln>
                    <a:noFill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395E928A-4515-D559-367D-4D4CE8001CC3}"/>
                    </a:ext>
                  </a:extLst>
                </p:cNvPr>
                <p:cNvSpPr/>
                <p:nvPr/>
              </p:nvSpPr>
              <p:spPr>
                <a:xfrm>
                  <a:off x="4064538" y="2512973"/>
                  <a:ext cx="2010383" cy="2010383"/>
                </a:xfrm>
                <a:prstGeom prst="ellipse">
                  <a:avLst/>
                </a:prstGeom>
                <a:solidFill>
                  <a:schemeClr val="accent4">
                    <a:alpha val="50000"/>
                  </a:schemeClr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spcAft>
                      <a:spcPts val="300"/>
                    </a:spcAft>
                    <a:buSzPct val="100000"/>
                  </a:pPr>
                  <a:endParaRPr lang="en-FI" sz="1200">
                    <a:ln>
                      <a:solidFill>
                        <a:schemeClr val="accent3"/>
                      </a:solidFill>
                    </a:ln>
                    <a:noFill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6F7117BF-725F-0103-43E2-3409983F1DEA}"/>
                    </a:ext>
                  </a:extLst>
                </p:cNvPr>
                <p:cNvSpPr/>
                <p:nvPr/>
              </p:nvSpPr>
              <p:spPr>
                <a:xfrm>
                  <a:off x="2424616" y="2577013"/>
                  <a:ext cx="2010383" cy="2010383"/>
                </a:xfrm>
                <a:prstGeom prst="ellipse">
                  <a:avLst/>
                </a:prstGeom>
                <a:solidFill>
                  <a:schemeClr val="accent3">
                    <a:alpha val="50000"/>
                  </a:schemeClr>
                </a:solidFill>
                <a:ln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spcAft>
                      <a:spcPts val="300"/>
                    </a:spcAft>
                    <a:buSzPct val="100000"/>
                  </a:pPr>
                  <a:endParaRPr lang="en-FI" sz="1200">
                    <a:ln>
                      <a:solidFill>
                        <a:schemeClr val="accent3"/>
                      </a:solidFill>
                    </a:ln>
                    <a:noFill/>
                  </a:endParaRPr>
                </a:p>
              </p:txBody>
            </p:sp>
          </p:grp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E4E8FFA6-19C4-EC47-0968-922622A56C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904192" y="2997386"/>
                <a:ext cx="1189799" cy="118979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88F329FC-8F7A-729B-CCE0-8DD38BBA39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57619" y="1438862"/>
                <a:ext cx="1189800" cy="118980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1FAAB4B8-90EA-509F-A22F-A71C13BA21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91419" y="2989249"/>
                <a:ext cx="1185909" cy="1185909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7AFF9D7-437F-AF09-C76A-5E661E80700A}"/>
              </a:ext>
            </a:extLst>
          </p:cNvPr>
          <p:cNvGrpSpPr/>
          <p:nvPr/>
        </p:nvGrpSpPr>
        <p:grpSpPr>
          <a:xfrm>
            <a:off x="4565206" y="1385674"/>
            <a:ext cx="2061228" cy="1995932"/>
            <a:chOff x="3476070" y="1491902"/>
            <a:chExt cx="2061228" cy="199593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26D45C7-9420-8319-B730-275F34C0398D}"/>
                </a:ext>
              </a:extLst>
            </p:cNvPr>
            <p:cNvSpPr/>
            <p:nvPr/>
          </p:nvSpPr>
          <p:spPr>
            <a:xfrm>
              <a:off x="3476070" y="1491902"/>
              <a:ext cx="2034679" cy="199593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315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9FFB5B62-70D6-4367-79D8-622B840D259A}"/>
                </a:ext>
              </a:extLst>
            </p:cNvPr>
            <p:cNvSpPr/>
            <p:nvPr/>
          </p:nvSpPr>
          <p:spPr>
            <a:xfrm>
              <a:off x="3640212" y="1675321"/>
              <a:ext cx="1897086" cy="95410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Mitigation</a:t>
              </a:r>
              <a:br>
                <a:rPr kumimoji="0" lang="en-GB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</a:br>
              <a:endParaRPr kumimoji="0" lang="en-GB" sz="17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36A4388-EE3E-F613-A178-8F6CBA6E9BC4}"/>
                </a:ext>
              </a:extLst>
            </p:cNvPr>
            <p:cNvGrpSpPr/>
            <p:nvPr/>
          </p:nvGrpSpPr>
          <p:grpSpPr>
            <a:xfrm>
              <a:off x="4121611" y="2312594"/>
              <a:ext cx="743595" cy="751991"/>
              <a:chOff x="3964541" y="1960991"/>
              <a:chExt cx="1214917" cy="1221517"/>
            </a:xfrm>
          </p:grpSpPr>
          <p:sp>
            <p:nvSpPr>
              <p:cNvPr id="42" name="Arrow: Circular 41">
                <a:extLst>
                  <a:ext uri="{FF2B5EF4-FFF2-40B4-BE49-F238E27FC236}">
                    <a16:creationId xmlns:a16="http://schemas.microsoft.com/office/drawing/2014/main" id="{3C5858DD-52E2-8AF3-E0B8-0627A779D61E}"/>
                  </a:ext>
                </a:extLst>
              </p:cNvPr>
              <p:cNvSpPr/>
              <p:nvPr/>
            </p:nvSpPr>
            <p:spPr>
              <a:xfrm>
                <a:off x="3995500" y="1966680"/>
                <a:ext cx="1183958" cy="1183958"/>
              </a:xfrm>
              <a:prstGeom prst="circularArrow">
                <a:avLst>
                  <a:gd name="adj1" fmla="val 5085"/>
                  <a:gd name="adj2" fmla="val 327528"/>
                  <a:gd name="adj3" fmla="val 1472472"/>
                  <a:gd name="adj4" fmla="val 16199432"/>
                  <a:gd name="adj5" fmla="val 5932"/>
                </a:avLst>
              </a:prstGeom>
              <a:solidFill>
                <a:schemeClr val="accent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3" name="Arrow: Circular 42">
                <a:extLst>
                  <a:ext uri="{FF2B5EF4-FFF2-40B4-BE49-F238E27FC236}">
                    <a16:creationId xmlns:a16="http://schemas.microsoft.com/office/drawing/2014/main" id="{C6FCAD9E-D774-7B95-D044-C7D6263EA86F}"/>
                  </a:ext>
                </a:extLst>
              </p:cNvPr>
              <p:cNvSpPr/>
              <p:nvPr/>
            </p:nvSpPr>
            <p:spPr>
              <a:xfrm>
                <a:off x="3986326" y="1998550"/>
                <a:ext cx="1183958" cy="1183958"/>
              </a:xfrm>
              <a:prstGeom prst="circularArrow">
                <a:avLst>
                  <a:gd name="adj1" fmla="val 5085"/>
                  <a:gd name="adj2" fmla="val 327528"/>
                  <a:gd name="adj3" fmla="val 8671970"/>
                  <a:gd name="adj4" fmla="val 1800502"/>
                  <a:gd name="adj5" fmla="val 5932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  <p:sp>
            <p:nvSpPr>
              <p:cNvPr id="44" name="Arrow: Circular 43">
                <a:extLst>
                  <a:ext uri="{FF2B5EF4-FFF2-40B4-BE49-F238E27FC236}">
                    <a16:creationId xmlns:a16="http://schemas.microsoft.com/office/drawing/2014/main" id="{53994113-2D40-88E1-45B4-74A9BC185D06}"/>
                  </a:ext>
                </a:extLst>
              </p:cNvPr>
              <p:cNvSpPr/>
              <p:nvPr/>
            </p:nvSpPr>
            <p:spPr>
              <a:xfrm>
                <a:off x="3964541" y="1960991"/>
                <a:ext cx="1183958" cy="1183958"/>
              </a:xfrm>
              <a:prstGeom prst="circularArrow">
                <a:avLst>
                  <a:gd name="adj1" fmla="val 5085"/>
                  <a:gd name="adj2" fmla="val 327528"/>
                  <a:gd name="adj3" fmla="val 15873039"/>
                  <a:gd name="adj4" fmla="val 9000000"/>
                  <a:gd name="adj5" fmla="val 5932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4E9E5E4-4273-FA44-0C2D-34370B60C03C}"/>
              </a:ext>
            </a:extLst>
          </p:cNvPr>
          <p:cNvGrpSpPr/>
          <p:nvPr/>
        </p:nvGrpSpPr>
        <p:grpSpPr>
          <a:xfrm>
            <a:off x="2283631" y="1386216"/>
            <a:ext cx="2048725" cy="1994849"/>
            <a:chOff x="6661563" y="1415043"/>
            <a:chExt cx="2048725" cy="1994849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3E11027-02E2-C0DC-6615-5F020542F1C2}"/>
                </a:ext>
              </a:extLst>
            </p:cNvPr>
            <p:cNvSpPr/>
            <p:nvPr/>
          </p:nvSpPr>
          <p:spPr>
            <a:xfrm>
              <a:off x="6661563" y="1415043"/>
              <a:ext cx="1987324" cy="1994849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315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147EB0AC-69A8-0BDE-5D21-127A594EEB21}"/>
                </a:ext>
              </a:extLst>
            </p:cNvPr>
            <p:cNvSpPr/>
            <p:nvPr/>
          </p:nvSpPr>
          <p:spPr>
            <a:xfrm>
              <a:off x="6813202" y="1617643"/>
              <a:ext cx="1897086" cy="95410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2000" b="0" i="0" u="non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Data-</a:t>
              </a:r>
              <a:r>
                <a:rPr kumimoji="0" lang="fi-FI" sz="2000" b="0" i="0" u="non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driven</a:t>
              </a:r>
              <a:r>
                <a:rPr kumimoji="0" lang="fi-FI" sz="2000" b="0" i="0" u="non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 </a:t>
              </a:r>
              <a:r>
                <a:rPr kumimoji="0" lang="fi-FI" sz="2000" b="0" i="0" u="non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methodology</a:t>
              </a:r>
              <a:r>
                <a:rPr kumimoji="0" lang="fi-FI" sz="2000" b="0" i="0" u="non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 (ESS)</a:t>
              </a:r>
              <a:endParaRPr kumimoji="0" lang="en-GB" sz="2000" b="0" i="0" u="non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48" name="Graphic 47" descr="Bar chart with solid fill">
              <a:extLst>
                <a:ext uri="{FF2B5EF4-FFF2-40B4-BE49-F238E27FC236}">
                  <a16:creationId xmlns:a16="http://schemas.microsoft.com/office/drawing/2014/main" id="{2F2744CA-6154-2880-DF7F-09C9A5328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332632" y="2620710"/>
              <a:ext cx="734032" cy="734032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A98BC0F-58B0-F0D6-FA52-68C0297B9171}"/>
              </a:ext>
            </a:extLst>
          </p:cNvPr>
          <p:cNvGrpSpPr/>
          <p:nvPr/>
        </p:nvGrpSpPr>
        <p:grpSpPr>
          <a:xfrm>
            <a:off x="6859283" y="1385674"/>
            <a:ext cx="2040406" cy="1995932"/>
            <a:chOff x="5168376" y="3012193"/>
            <a:chExt cx="2040406" cy="1995932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4DC63C3-3FF1-CB83-2A42-E303C924F4D9}"/>
                </a:ext>
              </a:extLst>
            </p:cNvPr>
            <p:cNvSpPr/>
            <p:nvPr/>
          </p:nvSpPr>
          <p:spPr>
            <a:xfrm>
              <a:off x="5168376" y="3012193"/>
              <a:ext cx="2034679" cy="199593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315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3461EA26-FC81-7A95-9ABA-03C70C2EDE17}"/>
                </a:ext>
              </a:extLst>
            </p:cNvPr>
            <p:cNvSpPr/>
            <p:nvPr/>
          </p:nvSpPr>
          <p:spPr>
            <a:xfrm>
              <a:off x="5311696" y="3268447"/>
              <a:ext cx="1897086" cy="95410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  <a:t>Adaptation</a:t>
              </a:r>
              <a:br>
                <a:rPr kumimoji="0" lang="en-GB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Ultra Light" panose="020B0204020202020204" pitchFamily="34" charset="0"/>
                  <a:ea typeface="+mn-ea"/>
                  <a:cs typeface="+mn-cs"/>
                </a:rPr>
              </a:br>
              <a:endParaRPr kumimoji="0" lang="en-GB" sz="1700" b="0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56" name="Graphic 55" descr="Bonsai with solid fill">
              <a:extLst>
                <a:ext uri="{FF2B5EF4-FFF2-40B4-BE49-F238E27FC236}">
                  <a16:creationId xmlns:a16="http://schemas.microsoft.com/office/drawing/2014/main" id="{D2E5E29B-7AFC-A04E-C22B-3E8896A8F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68239" y="4047404"/>
              <a:ext cx="628915" cy="628915"/>
            </a:xfrm>
            <a:prstGeom prst="rect">
              <a:avLst/>
            </a:prstGeom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3B89BA76-25A8-82CE-9FAC-FE8B72EC9A8D}"/>
              </a:ext>
            </a:extLst>
          </p:cNvPr>
          <p:cNvSpPr txBox="1"/>
          <p:nvPr/>
        </p:nvSpPr>
        <p:spPr>
          <a:xfrm>
            <a:off x="362858" y="3781985"/>
            <a:ext cx="1480457" cy="7982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limate change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Biodiversity loss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Geodiversity los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03BDAC6-503A-1A51-2C4C-3B9C1B3E2B1B}"/>
              </a:ext>
            </a:extLst>
          </p:cNvPr>
          <p:cNvSpPr txBox="1"/>
          <p:nvPr/>
        </p:nvSpPr>
        <p:spPr>
          <a:xfrm>
            <a:off x="2474681" y="3781985"/>
            <a:ext cx="1669148" cy="7982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tandardized metrics, measurement &amp; assessment methods,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modelling &amp; simulation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7FCAFEF-E24D-3454-E011-5ED85BB9B273}"/>
              </a:ext>
            </a:extLst>
          </p:cNvPr>
          <p:cNvSpPr txBox="1"/>
          <p:nvPr/>
        </p:nvSpPr>
        <p:spPr>
          <a:xfrm>
            <a:off x="4801831" y="3781985"/>
            <a:ext cx="1669148" cy="7982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Internet as enabler for all sectors to: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Reduce, Reuse,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Refurbish, Recycl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60B0EE3-4AFE-8059-11B5-8D86E7F7C585}"/>
              </a:ext>
            </a:extLst>
          </p:cNvPr>
          <p:cNvSpPr txBox="1"/>
          <p:nvPr/>
        </p:nvSpPr>
        <p:spPr>
          <a:xfrm>
            <a:off x="7111994" y="3781985"/>
            <a:ext cx="1669148" cy="7982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Build resilience through </a:t>
            </a: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ICT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E678B1-E323-00D3-3BC9-9CA6B168680F}"/>
              </a:ext>
            </a:extLst>
          </p:cNvPr>
          <p:cNvSpPr txBox="1">
            <a:spLocks/>
          </p:cNvSpPr>
          <p:nvPr/>
        </p:nvSpPr>
        <p:spPr>
          <a:xfrm>
            <a:off x="472342" y="628168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Key Take away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 Placeholder 1">
            <a:extLst>
              <a:ext uri="{FF2B5EF4-FFF2-40B4-BE49-F238E27FC236}">
                <a16:creationId xmlns:a16="http://schemas.microsoft.com/office/drawing/2014/main" id="{8383A92E-3B9F-4C10-ACD9-BCA7975D0B80}"/>
              </a:ext>
            </a:extLst>
          </p:cNvPr>
          <p:cNvSpPr txBox="1">
            <a:spLocks/>
          </p:cNvSpPr>
          <p:nvPr/>
        </p:nvSpPr>
        <p:spPr>
          <a:xfrm>
            <a:off x="5935393" y="525894"/>
            <a:ext cx="2511296" cy="596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586705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BA1A2-2DC7-918A-0F04-BE8DD88D9A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0688" y="2447532"/>
            <a:ext cx="8403671" cy="5960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here are disadvantaged, excluded populations worldwide!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116599-050C-A1A7-463F-D51039F09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0203" y="4889292"/>
            <a:ext cx="2880000" cy="122400"/>
          </a:xfrm>
        </p:spPr>
        <p:txBody>
          <a:bodyPr/>
          <a:lstStyle/>
          <a:p>
            <a:pPr algn="ctr"/>
            <a:r>
              <a:rPr lang="en-GB" dirty="0"/>
              <a:t>Public</a:t>
            </a:r>
            <a:endParaRPr lang="en-US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E8D9A90-101D-9F7D-98E7-4478D0A2CE06}"/>
              </a:ext>
            </a:extLst>
          </p:cNvPr>
          <p:cNvSpPr txBox="1">
            <a:spLocks/>
          </p:cNvSpPr>
          <p:nvPr/>
        </p:nvSpPr>
        <p:spPr>
          <a:xfrm>
            <a:off x="480688" y="1537532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We are experiencing an environmental emergency today!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0424E92-3CE2-DF16-35F2-B0B184FB23F7}"/>
              </a:ext>
            </a:extLst>
          </p:cNvPr>
          <p:cNvSpPr txBox="1">
            <a:spLocks/>
          </p:cNvSpPr>
          <p:nvPr/>
        </p:nvSpPr>
        <p:spPr>
          <a:xfrm>
            <a:off x="482913" y="628168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ustainability: the global context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23FC8044-C2CB-517E-EC5C-6D1E85A1698E}"/>
              </a:ext>
            </a:extLst>
          </p:cNvPr>
          <p:cNvSpPr txBox="1">
            <a:spLocks/>
          </p:cNvSpPr>
          <p:nvPr/>
        </p:nvSpPr>
        <p:spPr>
          <a:xfrm>
            <a:off x="480688" y="3321244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Businesses, especially SMEs, are squeezed between sustainability/net-zero targets and achieving growth!</a:t>
            </a:r>
          </a:p>
        </p:txBody>
      </p:sp>
    </p:spTree>
    <p:extLst>
      <p:ext uri="{BB962C8B-B14F-4D97-AF65-F5344CB8AC3E}">
        <p14:creationId xmlns:p14="http://schemas.microsoft.com/office/powerpoint/2010/main" val="391782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116599-050C-A1A7-463F-D51039F09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0203" y="4889292"/>
            <a:ext cx="2880000" cy="122400"/>
          </a:xfrm>
        </p:spPr>
        <p:txBody>
          <a:bodyPr/>
          <a:lstStyle/>
          <a:p>
            <a:pPr algn="ctr"/>
            <a:r>
              <a:rPr lang="en-GB" dirty="0"/>
              <a:t>Public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2D77AF-FF4E-D54F-BC41-7A2B69824C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0767" y="971507"/>
            <a:ext cx="7415803" cy="95083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uman – nature, human – human disconnect: inability to link actions with their impact to others – broken environmental and societal feedback loops!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4ABA4C3-A0EA-0091-06E1-913272C27CED}"/>
              </a:ext>
            </a:extLst>
          </p:cNvPr>
          <p:cNvSpPr txBox="1">
            <a:spLocks/>
          </p:cNvSpPr>
          <p:nvPr/>
        </p:nvSpPr>
        <p:spPr>
          <a:xfrm>
            <a:off x="530767" y="2221712"/>
            <a:ext cx="7909288" cy="1416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gainst this backdrop, while the Internet environmental footprint must be minimized, society is also demanding our technology to help with the global emergency -&gt; Internet as a sustainability enabler, Internet handprint!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0424E92-3CE2-DF16-35F2-B0B184FB23F7}"/>
              </a:ext>
            </a:extLst>
          </p:cNvPr>
          <p:cNvSpPr txBox="1">
            <a:spLocks/>
          </p:cNvSpPr>
          <p:nvPr/>
        </p:nvSpPr>
        <p:spPr>
          <a:xfrm>
            <a:off x="530767" y="371113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ustainability: all about feedback loops!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F946743-A4BD-F688-1985-99E5A478FBCD}"/>
              </a:ext>
            </a:extLst>
          </p:cNvPr>
          <p:cNvSpPr txBox="1">
            <a:spLocks/>
          </p:cNvSpPr>
          <p:nvPr/>
        </p:nvSpPr>
        <p:spPr>
          <a:xfrm>
            <a:off x="530767" y="3761366"/>
            <a:ext cx="8191221" cy="59482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ow can ICTs in general, and Internet in particular, help the reconciliation – restoring the feedback loops?</a:t>
            </a:r>
          </a:p>
        </p:txBody>
      </p:sp>
    </p:spTree>
    <p:extLst>
      <p:ext uri="{BB962C8B-B14F-4D97-AF65-F5344CB8AC3E}">
        <p14:creationId xmlns:p14="http://schemas.microsoft.com/office/powerpoint/2010/main" val="416038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build="p"/>
      <p:bldP spid="1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BA1A2-2DC7-918A-0F04-BE8DD88D9A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0688" y="2705092"/>
            <a:ext cx="8403671" cy="5960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How can the Internet promote circularity in verticals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116599-050C-A1A7-463F-D51039F09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0203" y="4889292"/>
            <a:ext cx="2880000" cy="122400"/>
          </a:xfrm>
        </p:spPr>
        <p:txBody>
          <a:bodyPr/>
          <a:lstStyle/>
          <a:p>
            <a:pPr algn="ctr"/>
            <a:r>
              <a:rPr lang="en-GB" dirty="0"/>
              <a:t>Public</a:t>
            </a:r>
            <a:endParaRPr lang="en-US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E8D9A90-101D-9F7D-98E7-4478D0A2CE06}"/>
              </a:ext>
            </a:extLst>
          </p:cNvPr>
          <p:cNvSpPr txBox="1">
            <a:spLocks/>
          </p:cNvSpPr>
          <p:nvPr/>
        </p:nvSpPr>
        <p:spPr>
          <a:xfrm>
            <a:off x="480688" y="1428677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ow can the Internet enable vertical sectors like energy, transport, manufacturing, construction, agriculture, etc. to decarbonize and become holistically sustainable?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0424E92-3CE2-DF16-35F2-B0B184FB23F7}"/>
              </a:ext>
            </a:extLst>
          </p:cNvPr>
          <p:cNvSpPr txBox="1">
            <a:spLocks/>
          </p:cNvSpPr>
          <p:nvPr/>
        </p:nvSpPr>
        <p:spPr>
          <a:xfrm>
            <a:off x="480688" y="63846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ternet for Sustainability: Handprint Impact in Vertical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23FC8044-C2CB-517E-EC5C-6D1E85A1698E}"/>
              </a:ext>
            </a:extLst>
          </p:cNvPr>
          <p:cNvSpPr txBox="1">
            <a:spLocks/>
          </p:cNvSpPr>
          <p:nvPr/>
        </p:nvSpPr>
        <p:spPr>
          <a:xfrm>
            <a:off x="480688" y="3404667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How can the Internet help with climate change adaptation through building resilience? </a:t>
            </a:r>
          </a:p>
        </p:txBody>
      </p:sp>
    </p:spTree>
    <p:extLst>
      <p:ext uri="{BB962C8B-B14F-4D97-AF65-F5344CB8AC3E}">
        <p14:creationId xmlns:p14="http://schemas.microsoft.com/office/powerpoint/2010/main" val="204766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EBA1A2-2DC7-918A-0F04-BE8DD88D9A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0688" y="2455123"/>
            <a:ext cx="8403671" cy="5960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ptimizations in some aspects could drive undesired outcomes for other parameters: the rebound effect!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116599-050C-A1A7-463F-D51039F09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0203" y="4889292"/>
            <a:ext cx="2880000" cy="122400"/>
          </a:xfrm>
        </p:spPr>
        <p:txBody>
          <a:bodyPr/>
          <a:lstStyle/>
          <a:p>
            <a:pPr algn="ctr"/>
            <a:r>
              <a:rPr lang="en-GB" dirty="0"/>
              <a:t>Public</a:t>
            </a:r>
            <a:endParaRPr lang="en-US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E8D9A90-101D-9F7D-98E7-4478D0A2CE06}"/>
              </a:ext>
            </a:extLst>
          </p:cNvPr>
          <p:cNvSpPr txBox="1">
            <a:spLocks/>
          </p:cNvSpPr>
          <p:nvPr/>
        </p:nvSpPr>
        <p:spPr>
          <a:xfrm>
            <a:off x="480688" y="1277378"/>
            <a:ext cx="8403671" cy="103604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ptimization of a few parameters will likely not produce desired outcomes: in complex systems, “all else being equal” doesn’t work!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D0424E92-3CE2-DF16-35F2-B0B184FB23F7}"/>
              </a:ext>
            </a:extLst>
          </p:cNvPr>
          <p:cNvSpPr txBox="1">
            <a:spLocks/>
          </p:cNvSpPr>
          <p:nvPr/>
        </p:nvSpPr>
        <p:spPr>
          <a:xfrm>
            <a:off x="480688" y="63846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ternet Handprint Research: a highly complex endeavor!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23FC8044-C2CB-517E-EC5C-6D1E85A1698E}"/>
              </a:ext>
            </a:extLst>
          </p:cNvPr>
          <p:cNvSpPr txBox="1">
            <a:spLocks/>
          </p:cNvSpPr>
          <p:nvPr/>
        </p:nvSpPr>
        <p:spPr>
          <a:xfrm>
            <a:off x="480688" y="3319152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Social and economic constraints could prevent the take-up of technological advancements!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BCE5D74-C907-4016-B8AF-56C362D25714}"/>
              </a:ext>
            </a:extLst>
          </p:cNvPr>
          <p:cNvSpPr txBox="1">
            <a:spLocks/>
          </p:cNvSpPr>
          <p:nvPr/>
        </p:nvSpPr>
        <p:spPr>
          <a:xfrm>
            <a:off x="481790" y="4135972"/>
            <a:ext cx="8403671" cy="59601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400" kern="1200" baseline="0">
                <a:solidFill>
                  <a:schemeClr val="bg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 complex systems approach is needed!</a:t>
            </a:r>
          </a:p>
        </p:txBody>
      </p:sp>
    </p:spTree>
    <p:extLst>
      <p:ext uri="{BB962C8B-B14F-4D97-AF65-F5344CB8AC3E}">
        <p14:creationId xmlns:p14="http://schemas.microsoft.com/office/powerpoint/2010/main" val="2943844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 build="p"/>
      <p:bldP spid="7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B92B7-2A23-33C5-A785-B53A85E8A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en-GB"/>
              <a:t>Public</a:t>
            </a:r>
            <a:endParaRPr lang="en-GB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2BD02BE-B61C-64E3-B2E9-1645ECAB769F}"/>
              </a:ext>
            </a:extLst>
          </p:cNvPr>
          <p:cNvSpPr txBox="1">
            <a:spLocks/>
          </p:cNvSpPr>
          <p:nvPr/>
        </p:nvSpPr>
        <p:spPr>
          <a:xfrm>
            <a:off x="417600" y="330631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arth Systems Science (ESS)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3E67B6A-2B2F-DEAB-D313-370115BFE2CA}"/>
              </a:ext>
            </a:extLst>
          </p:cNvPr>
          <p:cNvSpPr txBox="1">
            <a:spLocks/>
          </p:cNvSpPr>
          <p:nvPr/>
        </p:nvSpPr>
        <p:spPr>
          <a:xfrm>
            <a:off x="310024" y="718416"/>
            <a:ext cx="8308800" cy="34065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Holistic &amp; interdisciplinary 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E7F5EB-45C4-F3E6-D997-64A1E2682006}"/>
              </a:ext>
            </a:extLst>
          </p:cNvPr>
          <p:cNvSpPr txBox="1"/>
          <p:nvPr/>
        </p:nvSpPr>
        <p:spPr>
          <a:xfrm>
            <a:off x="5331123" y="4252720"/>
            <a:ext cx="3605950" cy="4795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-interpreted from “Report on Tomorrow’s Science. Earth System Science –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scovery, Diagnosis, and Solutions in Times of Global Change”, German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Academy of Science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opoldi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2): Halle (Saale), June 2022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EBA8504-E601-B8E8-F867-F7BEE7DF31A1}"/>
              </a:ext>
            </a:extLst>
          </p:cNvPr>
          <p:cNvSpPr txBox="1">
            <a:spLocks/>
          </p:cNvSpPr>
          <p:nvPr/>
        </p:nvSpPr>
        <p:spPr>
          <a:xfrm>
            <a:off x="417600" y="1168184"/>
            <a:ext cx="4724840" cy="3860056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Earth is a complex system of systems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ESS explores how negative feedback loops, material and energy flows among its spheres created stability on earth. 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se stable conditions support life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ESS also covers how human impact on earth is pushing stable systems towards their tipping points, endangering life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We need to understand our impact (positive and negative) in all spheres, learning from ESS methods, to have a reasonable chance of reaching our sustainability targets.</a:t>
            </a:r>
          </a:p>
          <a:p>
            <a:pPr marL="179705" indent="-179705"/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165A2F9-1374-5DD2-CF77-D45CA9C9FA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5694" y="985390"/>
            <a:ext cx="3638282" cy="292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561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B92B7-2A23-33C5-A785-B53A85E8A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en-GB"/>
              <a:t>Public</a:t>
            </a:r>
            <a:endParaRPr lang="en-GB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2BD02BE-B61C-64E3-B2E9-1645ECAB769F}"/>
              </a:ext>
            </a:extLst>
          </p:cNvPr>
          <p:cNvSpPr txBox="1">
            <a:spLocks/>
          </p:cNvSpPr>
          <p:nvPr/>
        </p:nvSpPr>
        <p:spPr>
          <a:xfrm>
            <a:off x="417600" y="330631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arth Systems Science (ESS) &amp; Internet Sustainability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E7F5EB-45C4-F3E6-D997-64A1E2682006}"/>
              </a:ext>
            </a:extLst>
          </p:cNvPr>
          <p:cNvSpPr txBox="1"/>
          <p:nvPr/>
        </p:nvSpPr>
        <p:spPr>
          <a:xfrm>
            <a:off x="5436371" y="4252720"/>
            <a:ext cx="3605950" cy="4795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-interpreted from “Report on Tomorrow’s Science. Earth System Science –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scovery, Diagnosis, and Solutions in Times of Global Change”, German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Academy of Science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opoldi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2): Halle (Saale), June 2022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EBA8504-E601-B8E8-F867-F7BEE7DF31A1}"/>
              </a:ext>
            </a:extLst>
          </p:cNvPr>
          <p:cNvSpPr txBox="1">
            <a:spLocks/>
          </p:cNvSpPr>
          <p:nvPr/>
        </p:nvSpPr>
        <p:spPr>
          <a:xfrm>
            <a:off x="361107" y="810177"/>
            <a:ext cx="4913523" cy="3860056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ur focus as an industry has been on understanding the interactions between the anthroposphere and the atmosphere (mostly footprint), to tackle the climate emergency.</a:t>
            </a: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nteractions of ICTs with the other spheres are covered to a lesser degree!</a:t>
            </a: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fforts to tackle climate change could be negatively affected by our inability to mitigate our impact to the biosphere, geosphere, or the hydrosphere since these systems are interconnected. </a:t>
            </a: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e also need to make sure solutions are implementable in the anthroposphere: individual and society take up.</a:t>
            </a:r>
          </a:p>
          <a:p>
            <a:pPr marL="179705" indent="-179705"/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705" indent="-179705"/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165A2F9-1374-5DD2-CF77-D45CA9C9FA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0942" y="985390"/>
            <a:ext cx="3638282" cy="292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372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B92B7-2A23-33C5-A785-B53A85E8A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en-GB" dirty="0"/>
              <a:t>Public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2BD02BE-B61C-64E3-B2E9-1645ECAB769F}"/>
              </a:ext>
            </a:extLst>
          </p:cNvPr>
          <p:cNvSpPr txBox="1">
            <a:spLocks/>
          </p:cNvSpPr>
          <p:nvPr/>
        </p:nvSpPr>
        <p:spPr>
          <a:xfrm>
            <a:off x="417600" y="37417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arth Systems Science (ESS)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3E67B6A-2B2F-DEAB-D313-370115BFE2CA}"/>
              </a:ext>
            </a:extLst>
          </p:cNvPr>
          <p:cNvSpPr txBox="1">
            <a:spLocks/>
          </p:cNvSpPr>
          <p:nvPr/>
        </p:nvSpPr>
        <p:spPr>
          <a:xfrm>
            <a:off x="310024" y="718416"/>
            <a:ext cx="8308800" cy="34065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ta – driven and analytical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E7F5EB-45C4-F3E6-D997-64A1E2682006}"/>
              </a:ext>
            </a:extLst>
          </p:cNvPr>
          <p:cNvSpPr txBox="1"/>
          <p:nvPr/>
        </p:nvSpPr>
        <p:spPr>
          <a:xfrm>
            <a:off x="5331123" y="4252720"/>
            <a:ext cx="3605950" cy="4795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-interpreted from “Report on Tomorrow’s Science. Earth System Science –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scovery, Diagnosis, and Solutions in Times of Global Change”, German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Academy of Science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opoldi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2): Halle (Saale), June 2022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EBA8504-E601-B8E8-F867-F7BEE7DF31A1}"/>
              </a:ext>
            </a:extLst>
          </p:cNvPr>
          <p:cNvSpPr txBox="1">
            <a:spLocks/>
          </p:cNvSpPr>
          <p:nvPr/>
        </p:nvSpPr>
        <p:spPr>
          <a:xfrm>
            <a:off x="417600" y="1168184"/>
            <a:ext cx="4724840" cy="3860056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Like all human activity, we operate in the anthroposphere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We are present in the feedback loops, and flows within the anthroposphere and between the anthroposphere and the others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If you will, like a network slice or like a flow in aggregate data pipes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Similar to ESS, we would benefit from a data-driven approach, using observations, measurements and assessments.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Like ESS, we can tackle complexity through modelling and simulations, e.g. digital twins!</a:t>
            </a:r>
          </a:p>
          <a:p>
            <a:pPr marL="179705" indent="-179705"/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414734-0BBF-6CAF-9D78-69008B38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5694" y="985390"/>
            <a:ext cx="3638282" cy="292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11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B92B7-2A23-33C5-A785-B53A85E8A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/>
            <a:r>
              <a:rPr lang="en-GB" dirty="0"/>
              <a:t>Public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2BD02BE-B61C-64E3-B2E9-1645ECAB769F}"/>
              </a:ext>
            </a:extLst>
          </p:cNvPr>
          <p:cNvSpPr txBox="1">
            <a:spLocks/>
          </p:cNvSpPr>
          <p:nvPr/>
        </p:nvSpPr>
        <p:spPr>
          <a:xfrm>
            <a:off x="417600" y="29287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doptions from Earth Systems Science (ESS)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E7F5EB-45C4-F3E6-D997-64A1E2682006}"/>
              </a:ext>
            </a:extLst>
          </p:cNvPr>
          <p:cNvSpPr txBox="1"/>
          <p:nvPr/>
        </p:nvSpPr>
        <p:spPr>
          <a:xfrm>
            <a:off x="5331123" y="4252720"/>
            <a:ext cx="3605950" cy="4795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-interpreted from “Report on Tomorrow’s Science. Earth System Science –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scovery, Diagnosis, and Solutions in Times of Global Change”, German 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Academy of Science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opoldi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2): Halle (Saale), June 2022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EBA8504-E601-B8E8-F867-F7BEE7DF31A1}"/>
              </a:ext>
            </a:extLst>
          </p:cNvPr>
          <p:cNvSpPr txBox="1">
            <a:spLocks/>
          </p:cNvSpPr>
          <p:nvPr/>
        </p:nvSpPr>
        <p:spPr>
          <a:xfrm>
            <a:off x="417600" y="981415"/>
            <a:ext cx="4724840" cy="3860056"/>
          </a:xfrm>
          <a:prstGeom prst="rect">
            <a:avLst/>
          </a:prstGeom>
        </p:spPr>
        <p:txBody>
          <a:bodyPr lIns="0" tIns="0" rIns="0" bIns="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etermine what can be measured (like energy consumption) and what can be assessed and estimated based on standardized secondary data (biodiversity loss or resource depletion impact),</a:t>
            </a: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reate and agree on assumptions and measurement criteria (to ensure same conditions apply each time)</a:t>
            </a: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llect and share data continuously,</a:t>
            </a:r>
          </a:p>
          <a:p>
            <a:pPr marL="179705" indent="-179705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Use AI/ML for data analysis and developments of insight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705" indent="-179705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evelop an interdisciplinary, experimental research community!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1414734-0BBF-6CAF-9D78-69008B38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5694" y="985390"/>
            <a:ext cx="3638282" cy="292308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F763E8C-F4B7-464D-9B42-E97FBB61D2D4}"/>
              </a:ext>
            </a:extLst>
          </p:cNvPr>
          <p:cNvSpPr txBox="1">
            <a:spLocks/>
          </p:cNvSpPr>
          <p:nvPr/>
        </p:nvSpPr>
        <p:spPr>
          <a:xfrm>
            <a:off x="310024" y="639480"/>
            <a:ext cx="8308800" cy="34065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e need to: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020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1.3.1" id="{C6498D32-F607-4A45-B982-8AB9B1E711BF}" vid="{17D9628A-55E8-4D30-9A9A-80D51FD39DF3}"/>
    </a:ext>
  </a:extLst>
</a:theme>
</file>

<file path=ppt/theme/theme2.xml><?xml version="1.0" encoding="utf-8"?>
<a:theme xmlns:a="http://schemas.openxmlformats.org/drawingml/2006/main" name="11_1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resentation toolkit_Pure 2019" id="{99B5A2AB-6EBC-42FA-8959-8ECD5304F73D}" vid="{18300C06-1E8D-41D8-BCAF-64903024DD50}"/>
    </a:ext>
  </a:extLst>
</a:theme>
</file>

<file path=ppt/theme/theme3.xml><?xml version="1.0" encoding="utf-8"?>
<a:theme xmlns:a="http://schemas.openxmlformats.org/drawingml/2006/main" name="1. White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owerPoint template 2023 v1.3" id="{DD0C3133-E3AE-47D2-A897-43496769EDE2}" vid="{7EB8784B-D8AE-47B4-BCC3-8AAF24F0E14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610b643-e0dc-49a3-bdd7-06f3c6cb789f}" enabled="1" method="Privileged" siteId="{5d471751-9675-428d-917b-70f44f9630b0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esrcID37342_Nokia 2023 - PowerPoint template v1.3.1</Template>
  <TotalTime>2357</TotalTime>
  <Words>879</Words>
  <Application>Microsoft Office PowerPoint</Application>
  <PresentationFormat>On-screen Show (16:9)</PresentationFormat>
  <Paragraphs>8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Nokia Pure Headline Light</vt:lpstr>
      <vt:lpstr>Nokia Pure Headline Ultra Light</vt:lpstr>
      <vt:lpstr>Nokia Pure Text</vt:lpstr>
      <vt:lpstr>Nokia Pure Text Light</vt:lpstr>
      <vt:lpstr>1. Master</vt:lpstr>
      <vt:lpstr>11_1 White Master</vt:lpstr>
      <vt:lpstr>1. 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the key message, idea or takeaway?</dc:title>
  <dc:creator>Ali Rezaki (Nokia)</dc:creator>
  <cp:lastModifiedBy>Ali Rezaki (Nokia)</cp:lastModifiedBy>
  <cp:revision>158</cp:revision>
  <dcterms:created xsi:type="dcterms:W3CDTF">2023-03-21T10:29:56Z</dcterms:created>
  <dcterms:modified xsi:type="dcterms:W3CDTF">2023-07-24T07:4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610b643-e0dc-49a3-bdd7-06f3c6cb789f_Enabled">
    <vt:lpwstr>true</vt:lpwstr>
  </property>
  <property fmtid="{D5CDD505-2E9C-101B-9397-08002B2CF9AE}" pid="3" name="MSIP_Label_4610b643-e0dc-49a3-bdd7-06f3c6cb789f_SetDate">
    <vt:lpwstr>2023-04-25T09:49:24Z</vt:lpwstr>
  </property>
  <property fmtid="{D5CDD505-2E9C-101B-9397-08002B2CF9AE}" pid="4" name="MSIP_Label_4610b643-e0dc-49a3-bdd7-06f3c6cb789f_Method">
    <vt:lpwstr>Privileged</vt:lpwstr>
  </property>
  <property fmtid="{D5CDD505-2E9C-101B-9397-08002B2CF9AE}" pid="5" name="MSIP_Label_4610b643-e0dc-49a3-bdd7-06f3c6cb789f_Name">
    <vt:lpwstr>Nokia_ID_only</vt:lpwstr>
  </property>
  <property fmtid="{D5CDD505-2E9C-101B-9397-08002B2CF9AE}" pid="6" name="MSIP_Label_4610b643-e0dc-49a3-bdd7-06f3c6cb789f_SiteId">
    <vt:lpwstr>5d471751-9675-428d-917b-70f44f9630b0</vt:lpwstr>
  </property>
  <property fmtid="{D5CDD505-2E9C-101B-9397-08002B2CF9AE}" pid="7" name="MSIP_Label_4610b643-e0dc-49a3-bdd7-06f3c6cb789f_ActionId">
    <vt:lpwstr>0d962867-73f0-411b-9a78-512191967b6b</vt:lpwstr>
  </property>
  <property fmtid="{D5CDD505-2E9C-101B-9397-08002B2CF9AE}" pid="8" name="MSIP_Label_4610b643-e0dc-49a3-bdd7-06f3c6cb789f_ContentBits">
    <vt:lpwstr>2</vt:lpwstr>
  </property>
</Properties>
</file>